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0"/>
  </p:notesMasterIdLst>
  <p:handoutMasterIdLst>
    <p:handoutMasterId r:id="rId21"/>
  </p:handoutMasterIdLst>
  <p:sldIdLst>
    <p:sldId id="279" r:id="rId6"/>
    <p:sldId id="301" r:id="rId7"/>
    <p:sldId id="284" r:id="rId8"/>
    <p:sldId id="294" r:id="rId9"/>
    <p:sldId id="358" r:id="rId10"/>
    <p:sldId id="418" r:id="rId11"/>
    <p:sldId id="433" r:id="rId12"/>
    <p:sldId id="432" r:id="rId13"/>
    <p:sldId id="434" r:id="rId14"/>
    <p:sldId id="431" r:id="rId15"/>
    <p:sldId id="300" r:id="rId16"/>
    <p:sldId id="372" r:id="rId17"/>
    <p:sldId id="319" r:id="rId18"/>
    <p:sldId id="260" r:id="rId19"/>
  </p:sldIdLst>
  <p:sldSz cx="9144000" cy="5143500" type="screen16x9"/>
  <p:notesSz cx="7099300" cy="10234613"/>
  <p:custDataLst>
    <p:tags r:id="rId22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6C"/>
    <a:srgbClr val="00008B"/>
    <a:srgbClr val="FFFFFF"/>
    <a:srgbClr val="FDA501"/>
    <a:srgbClr val="ADFF2E"/>
    <a:srgbClr val="FFD3DB"/>
    <a:srgbClr val="9B9B9B"/>
    <a:srgbClr val="7F007F"/>
    <a:srgbClr val="7E7E00"/>
    <a:srgbClr val="B0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952" autoAdjust="0"/>
    <p:restoredTop sz="95289" autoAdjust="0"/>
  </p:normalViewPr>
  <p:slideViewPr>
    <p:cSldViewPr snapToGrid="0">
      <p:cViewPr varScale="1">
        <p:scale>
          <a:sx n="178" d="100"/>
          <a:sy n="178" d="100"/>
        </p:scale>
        <p:origin x="108" y="508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19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19/03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4438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255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116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9979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407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Déployez un modèle dans le Cloud</a:t>
            </a: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13/05/2022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oncompartimentamoi.s3.eu-west-3.amazonaws.com/" TargetMode="External"/><Relationship Id="rId12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8.png"/><Relationship Id="rId1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13/05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8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/>
              <a:t>Déployez un modèle dans le Cloud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ZoneTexte 24">
            <a:extLst>
              <a:ext uri="{FF2B5EF4-FFF2-40B4-BE49-F238E27FC236}">
                <a16:creationId xmlns:a16="http://schemas.microsoft.com/office/drawing/2014/main" id="{DFFC5E16-4B82-4C05-B355-9786368B11BE}"/>
              </a:ext>
            </a:extLst>
          </p:cNvPr>
          <p:cNvSpPr txBox="1"/>
          <p:nvPr/>
        </p:nvSpPr>
        <p:spPr>
          <a:xfrm>
            <a:off x="342106" y="2311322"/>
            <a:ext cx="3612220" cy="799601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Transfer Learning à partir de Resnet50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Gel des poids du Resnet50 sans dernière couc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jout d’une couche </a:t>
            </a:r>
            <a:r>
              <a:rPr lang="fr-FR" sz="800" dirty="0">
                <a:solidFill>
                  <a:srgbClr val="FF0000"/>
                </a:solidFill>
              </a:rPr>
              <a:t>classifier dense de 24 neurone et une activation </a:t>
            </a:r>
            <a:r>
              <a:rPr lang="fr-FR" sz="800" dirty="0" err="1">
                <a:solidFill>
                  <a:srgbClr val="FF0000"/>
                </a:solidFill>
              </a:rPr>
              <a:t>softmax</a:t>
            </a:r>
            <a:r>
              <a:rPr lang="fr-FR" sz="800" dirty="0">
                <a:solidFill>
                  <a:srgbClr val="FF0000"/>
                </a:solidFill>
              </a:rPr>
              <a:t>, précédée par une vectoris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Entrainement du modèle sur les images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pipeline</a:t>
            </a:r>
            <a:endParaRPr lang="en-GB" altLang="fr-FR" sz="20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6" y="1275473"/>
            <a:ext cx="3612220" cy="485462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Chargement des données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images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7" y="1792340"/>
            <a:ext cx="3612220" cy="434181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Extraction des features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Via Resnet50 sans dernière couch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342106" y="3203656"/>
            <a:ext cx="3612220" cy="62435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Visualisation des prédictions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ans le premier plan principal d’une </a:t>
            </a:r>
            <a:r>
              <a:rPr lang="fr-FR" sz="800" dirty="0"/>
              <a:t>PCA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450DC-684B-40AF-B78B-59DF7BD555DD}"/>
              </a:ext>
            </a:extLst>
          </p:cNvPr>
          <p:cNvSpPr txBox="1"/>
          <p:nvPr/>
        </p:nvSpPr>
        <p:spPr>
          <a:xfrm>
            <a:off x="4464844" y="964406"/>
            <a:ext cx="4337050" cy="14003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400" dirty="0">
                <a:solidFill>
                  <a:srgbClr val="FF0000"/>
                </a:solidFill>
              </a:rPr>
              <a:t>- décrire 3 transformations apportées par le resnet50 (première, milieu et fin)</a:t>
            </a:r>
          </a:p>
          <a:p>
            <a:r>
              <a:rPr lang="fr-FR" sz="1400" dirty="0">
                <a:solidFill>
                  <a:srgbClr val="FF0000"/>
                </a:solidFill>
              </a:rPr>
              <a:t>- encapsuler la fonction (modèle CNN) dans un "</a:t>
            </a:r>
            <a:r>
              <a:rPr lang="fr-FR" sz="1400" dirty="0" err="1">
                <a:solidFill>
                  <a:srgbClr val="FF0000"/>
                </a:solidFill>
              </a:rPr>
              <a:t>pandas_udf</a:t>
            </a:r>
            <a:r>
              <a:rPr lang="fr-FR" sz="1400" dirty="0">
                <a:solidFill>
                  <a:srgbClr val="FF0000"/>
                </a:solidFill>
              </a:rPr>
              <a:t>" pour maintenir le mode distribué</a:t>
            </a:r>
          </a:p>
          <a:p>
            <a:r>
              <a:rPr lang="fr-FR" sz="1400" dirty="0">
                <a:solidFill>
                  <a:srgbClr val="FF0000"/>
                </a:solidFill>
              </a:rPr>
              <a:t>- bien choisir les couches ajoutées</a:t>
            </a:r>
          </a:p>
          <a:p>
            <a:r>
              <a:rPr lang="fr-FR" sz="1400" dirty="0">
                <a:solidFill>
                  <a:srgbClr val="FF0000"/>
                </a:solidFill>
              </a:rPr>
              <a:t>- </a:t>
            </a:r>
            <a:r>
              <a:rPr lang="fr-FR" sz="1400" dirty="0" err="1">
                <a:solidFill>
                  <a:srgbClr val="FF0000"/>
                </a:solidFill>
              </a:rPr>
              <a:t>accuracy</a:t>
            </a:r>
            <a:r>
              <a:rPr lang="fr-FR" sz="1400" dirty="0">
                <a:solidFill>
                  <a:srgbClr val="FF0000"/>
                </a:solidFill>
              </a:rPr>
              <a:t> 0.6 en augmentant nombre d'</a:t>
            </a:r>
            <a:r>
              <a:rPr lang="fr-FR" sz="1400" dirty="0" err="1">
                <a:solidFill>
                  <a:srgbClr val="FF0000"/>
                </a:solidFill>
              </a:rPr>
              <a:t>epochs</a:t>
            </a:r>
            <a:endParaRPr lang="fr-FR" sz="1400" dirty="0">
              <a:solidFill>
                <a:srgbClr val="FF0000"/>
              </a:solidFill>
            </a:endParaRPr>
          </a:p>
          <a:p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9F249A7-4F19-4273-B95B-B2C39DA71261}"/>
              </a:ext>
            </a:extLst>
          </p:cNvPr>
          <p:cNvSpPr txBox="1"/>
          <p:nvPr/>
        </p:nvSpPr>
        <p:spPr>
          <a:xfrm>
            <a:off x="342106" y="3920743"/>
            <a:ext cx="3612220" cy="62435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Stockage des prédiction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ur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ous format parquet</a:t>
            </a:r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04602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LUSION et </a:t>
            </a:r>
            <a:br>
              <a:rPr lang="fr-FR" dirty="0"/>
            </a:br>
            <a:r>
              <a:rPr lang="fr-FR" dirty="0"/>
              <a:t>pistes d’ amélioration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22"/>
          <p:cNvSpPr txBox="1">
            <a:spLocks/>
          </p:cNvSpPr>
          <p:nvPr/>
        </p:nvSpPr>
        <p:spPr bwMode="auto">
          <a:xfrm>
            <a:off x="342106" y="1381825"/>
            <a:ext cx="8459788" cy="309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tude satisfaisante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xx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 possibles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quilibrage des classes (espèce/variété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C7D442C-429A-40BE-972E-771DC45BE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1215" y="2622783"/>
            <a:ext cx="2700679" cy="190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85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111250"/>
            <a:ext cx="8074921" cy="3454310"/>
          </a:xfrm>
        </p:spPr>
        <p:txBody>
          <a:bodyPr/>
          <a:lstStyle/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r>
              <a:rPr lang="fr-FR" dirty="0"/>
              <a:t> </a:t>
            </a: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, pistes et jeu de données</a:t>
            </a:r>
            <a:endParaRPr lang="fr-FR" sz="1400" dirty="0">
              <a:solidFill>
                <a:srgbClr val="FF000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Les données visuelle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 et pistes d’amélioration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2"/>
            <a:endParaRPr lang="fr-FR" sz="1000" dirty="0">
              <a:solidFill>
                <a:srgbClr val="0070C0"/>
              </a:solidFill>
            </a:endParaRPr>
          </a:p>
          <a:p>
            <a:pPr lvl="2"/>
            <a:endParaRPr lang="fr-FR" altLang="fr-FR" dirty="0"/>
          </a:p>
          <a:p>
            <a:pPr lvl="2"/>
            <a:endParaRPr lang="fr-FR" altLang="fr-FR" dirty="0"/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, PISTES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806450"/>
            <a:ext cx="4110763" cy="1664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art-up de l'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AgriTech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: robotisation de la récolte en tenant compte de la spécificité des fruits 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n premier lieu, se faire connaître avec une application mobile qui affiche les informations sur un fruit à partir de sa photo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4DD74A7-AC4A-4A36-A47A-EE0F5D5345B2}"/>
              </a:ext>
            </a:extLst>
          </p:cNvPr>
          <p:cNvSpPr txBox="1"/>
          <p:nvPr/>
        </p:nvSpPr>
        <p:spPr>
          <a:xfrm>
            <a:off x="6037187" y="1302896"/>
            <a:ext cx="1786807" cy="1167561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75000"/>
                <a:lumOff val="2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+mn-lt"/>
                <a:cs typeface="+mn-cs"/>
              </a:rPr>
              <a:t>Humain ou Robot</a:t>
            </a:r>
          </a:p>
          <a:p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    Demande: Photo</a:t>
            </a: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Réponse: Spécificités de la variété</a:t>
            </a:r>
            <a:endParaRPr lang="fr-FR" sz="8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038767-A3A1-42ED-8C7E-E97E5EA6B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1151" y="739839"/>
            <a:ext cx="1099958" cy="78292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A39DAC7-D079-4730-AB59-6BA7CC95FB41}"/>
              </a:ext>
            </a:extLst>
          </p:cNvPr>
          <p:cNvSpPr txBox="1"/>
          <p:nvPr/>
        </p:nvSpPr>
        <p:spPr>
          <a:xfrm>
            <a:off x="8128794" y="1302897"/>
            <a:ext cx="673100" cy="1167560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Application</a:t>
            </a:r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F9369309-745B-423F-B1F2-09F2FE0B5565}"/>
              </a:ext>
            </a:extLst>
          </p:cNvPr>
          <p:cNvSpPr/>
          <p:nvPr/>
        </p:nvSpPr>
        <p:spPr>
          <a:xfrm rot="10800000">
            <a:off x="7758910" y="2296516"/>
            <a:ext cx="321679" cy="108642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B3EF27C-A3BD-43A3-80E7-CDFF20F18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6061" y="1560436"/>
            <a:ext cx="459216" cy="583749"/>
          </a:xfrm>
          <a:prstGeom prst="rect">
            <a:avLst/>
          </a:prstGeom>
        </p:spPr>
      </p:pic>
      <p:sp>
        <p:nvSpPr>
          <p:cNvPr id="11" name="Flèche : droite 10">
            <a:extLst>
              <a:ext uri="{FF2B5EF4-FFF2-40B4-BE49-F238E27FC236}">
                <a16:creationId xmlns:a16="http://schemas.microsoft.com/office/drawing/2014/main" id="{F4A81B2E-51A8-470E-BCA0-9246ED770FE0}"/>
              </a:ext>
            </a:extLst>
          </p:cNvPr>
          <p:cNvSpPr/>
          <p:nvPr/>
        </p:nvSpPr>
        <p:spPr>
          <a:xfrm>
            <a:off x="7533559" y="1617282"/>
            <a:ext cx="595235" cy="130825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8" name="Espace réservé du contenu 22">
            <a:extLst>
              <a:ext uri="{FF2B5EF4-FFF2-40B4-BE49-F238E27FC236}">
                <a16:creationId xmlns:a16="http://schemas.microsoft.com/office/drawing/2014/main" id="{F045F7C9-33D2-4E9C-BF46-E026F36C502E}"/>
              </a:ext>
            </a:extLst>
          </p:cNvPr>
          <p:cNvSpPr txBox="1">
            <a:spLocks/>
          </p:cNvSpPr>
          <p:nvPr/>
        </p:nvSpPr>
        <p:spPr bwMode="auto">
          <a:xfrm>
            <a:off x="342105" y="2544205"/>
            <a:ext cx="8459787" cy="199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Construire une architecture Big Data pour supporter une augmentation rapide du volume des données (passage à l’échelle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ettre en place une chaîne de traitement des données (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reprocessing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et réduction de dimension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les coûts engendrés par l'architecture Big Data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Optionnel: Mettre en place une première version du moteur de classification des images de fruits</a:t>
            </a:r>
          </a:p>
          <a:p>
            <a:pPr marL="361950" lvl="1" indent="1588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emiers choix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olution d’architecture Cloud: Amazon Web Services AW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Librairies pour les calculs distribués: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43814483-05E2-4E5A-986B-94226F13EC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9046" y="3750860"/>
            <a:ext cx="1152525" cy="75247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E2762E4-8D06-4797-86DC-836B68B8F8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75118" y="3750860"/>
            <a:ext cx="1817901" cy="7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25BDB263-BC15-495B-979F-CC2446930395}"/>
              </a:ext>
            </a:extLst>
          </p:cNvPr>
          <p:cNvSpPr txBox="1">
            <a:spLocks/>
          </p:cNvSpPr>
          <p:nvPr/>
        </p:nvSpPr>
        <p:spPr bwMode="auto">
          <a:xfrm>
            <a:off x="342106" y="700268"/>
            <a:ext cx="7143750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images des fruits - Répertoires Training, Test, Validation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spécificités des fruits - Répertoire Meta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ctionnaire de 17 informations utilisées selon l’espèce/variété: qualité de la peau, contenance en fructose/graisse/eau, maturité, 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C2A69B-318B-44F9-92BD-F4FC44341F60}"/>
              </a:ext>
            </a:extLst>
          </p:cNvPr>
          <p:cNvSpPr/>
          <p:nvPr/>
        </p:nvSpPr>
        <p:spPr>
          <a:xfrm>
            <a:off x="342106" y="1100140"/>
            <a:ext cx="1838324" cy="2390775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A65F44E7-071C-4EAE-84FF-C34CF3C10032}"/>
              </a:ext>
            </a:extLst>
          </p:cNvPr>
          <p:cNvSpPr txBox="1">
            <a:spLocks/>
          </p:cNvSpPr>
          <p:nvPr/>
        </p:nvSpPr>
        <p:spPr bwMode="auto">
          <a:xfrm>
            <a:off x="1844674" y="700268"/>
            <a:ext cx="6931025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3 jeux de données : premier niveau de l’arborescenc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24 classes (espèce/variété): deuxième niveau de l’arborescenc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es fruits et des légumes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12 455 images :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ond blanc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mensions variabl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Unicité sur la position dans l’arborescence et le nom du fichier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Nom du fichier intègre la rotation du fruit : information pour la récolt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Volume total: 0,6 Go (Taille moyenne d’une image: 45,8 Ko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137E646-8366-4DDD-8007-6B3125C8EF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8780" y="1158338"/>
            <a:ext cx="1691117" cy="156999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CFBA609-047C-465F-93C4-08175DE7D4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6631" y="2791008"/>
            <a:ext cx="713266" cy="64770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2EB3674-EEC5-4C86-B9B3-43DFFAD074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321" y="2791008"/>
            <a:ext cx="813130" cy="63820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A185FBB-575D-4C3D-88FF-4B85E7C3E6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75625" y="864172"/>
            <a:ext cx="626269" cy="340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ourquoi une architecture Big Data ?</a:t>
            </a:r>
            <a:br>
              <a:rPr lang="fr-FR" dirty="0"/>
            </a:br>
            <a:r>
              <a:rPr lang="fr-FR" sz="1200" dirty="0">
                <a:solidFill>
                  <a:srgbClr val="FF0000"/>
                </a:solidFill>
              </a:rPr>
              <a:t>C’est quoi Spark, Hadoop?</a:t>
            </a: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endParaRPr lang="fr-FR" sz="1200" dirty="0">
              <a:solidFill>
                <a:srgbClr val="FF0000"/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5399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Nos enjeux</a:t>
            </a:r>
            <a:endParaRPr lang="fr-FR" altLang="fr-FR" sz="2000" dirty="0"/>
          </a:p>
        </p:txBody>
      </p:sp>
      <p:sp>
        <p:nvSpPr>
          <p:cNvPr id="21" name="Espace réservé du contenu 22">
            <a:extLst>
              <a:ext uri="{FF2B5EF4-FFF2-40B4-BE49-F238E27FC236}">
                <a16:creationId xmlns:a16="http://schemas.microsoft.com/office/drawing/2014/main" id="{3AE00F6A-CDA3-4AFE-B18F-4779CC8996A0}"/>
              </a:ext>
            </a:extLst>
          </p:cNvPr>
          <p:cNvSpPr txBox="1">
            <a:spLocks/>
          </p:cNvSpPr>
          <p:nvPr/>
        </p:nvSpPr>
        <p:spPr bwMode="auto">
          <a:xfrm>
            <a:off x="342106" y="751471"/>
            <a:ext cx="3522392" cy="1072789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erformance du modèl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nrichissement des jeux pour entrainer le modèle de classification</a:t>
            </a:r>
          </a:p>
        </p:txBody>
      </p:sp>
      <p:sp>
        <p:nvSpPr>
          <p:cNvPr id="22" name="Espace réservé du contenu 22">
            <a:extLst>
              <a:ext uri="{FF2B5EF4-FFF2-40B4-BE49-F238E27FC236}">
                <a16:creationId xmlns:a16="http://schemas.microsoft.com/office/drawing/2014/main" id="{C5C5321A-0833-4A80-B21B-3F964C626DDB}"/>
              </a:ext>
            </a:extLst>
          </p:cNvPr>
          <p:cNvSpPr txBox="1">
            <a:spLocks/>
          </p:cNvSpPr>
          <p:nvPr/>
        </p:nvSpPr>
        <p:spPr bwMode="auto">
          <a:xfrm>
            <a:off x="4047613" y="751472"/>
            <a:ext cx="4754281" cy="1072790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pplication mobile ou Robotisation de la récolt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Augmentation rapide du nombre de connections des utilisateur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Augmentation rapide de la taille des flux entrants et sortant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Résilience</a:t>
            </a:r>
          </a:p>
        </p:txBody>
      </p:sp>
      <p:sp>
        <p:nvSpPr>
          <p:cNvPr id="25" name="Espace réservé du contenu 22">
            <a:extLst>
              <a:ext uri="{FF2B5EF4-FFF2-40B4-BE49-F238E27FC236}">
                <a16:creationId xmlns:a16="http://schemas.microsoft.com/office/drawing/2014/main" id="{D4670F1F-22AD-4E25-B0C0-D112FC9E7178}"/>
              </a:ext>
            </a:extLst>
          </p:cNvPr>
          <p:cNvSpPr txBox="1">
            <a:spLocks/>
          </p:cNvSpPr>
          <p:nvPr/>
        </p:nvSpPr>
        <p:spPr bwMode="auto">
          <a:xfrm>
            <a:off x="342106" y="1949448"/>
            <a:ext cx="8459788" cy="2579009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ockage : volume des jeux d’imag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space suffisant rapidement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Accès permanent au modèle pour les prédictions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Redondanc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Traitement : vitesse d’apprentissag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Paralléliser certaines opérations de calcul avec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lux : fréquences de connections, volume des photos des utilisateurs en entré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upervision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tat de l’application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son budget en positionnant des alertes de coûts</a:t>
            </a:r>
          </a:p>
          <a:p>
            <a:pPr marL="962109" lvl="2" indent="-285750"/>
            <a:endParaRPr lang="fr-FR" sz="1000" dirty="0" err="1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6" name="Connecteur : en angle 25">
            <a:extLst>
              <a:ext uri="{FF2B5EF4-FFF2-40B4-BE49-F238E27FC236}">
                <a16:creationId xmlns:a16="http://schemas.microsoft.com/office/drawing/2014/main" id="{6358E679-D710-4204-BEE1-CF63465C54C8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3864498" y="1287866"/>
            <a:ext cx="183115" cy="1"/>
          </a:xfrm>
          <a:prstGeom prst="bentConnector3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age 48">
            <a:extLst>
              <a:ext uri="{FF2B5EF4-FFF2-40B4-BE49-F238E27FC236}">
                <a16:creationId xmlns:a16="http://schemas.microsoft.com/office/drawing/2014/main" id="{E342E082-2C09-4797-AEE2-73FBD5D8E0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9853" y="2141545"/>
            <a:ext cx="545717" cy="435841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E386961E-DE5D-42EE-9F39-7F7C68D2AF87}"/>
              </a:ext>
            </a:extLst>
          </p:cNvPr>
          <p:cNvSpPr txBox="1"/>
          <p:nvPr/>
        </p:nvSpPr>
        <p:spPr>
          <a:xfrm>
            <a:off x="5527494" y="2141546"/>
            <a:ext cx="3073581" cy="81404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1000" b="1" dirty="0">
                <a:latin typeface="+mn-lt"/>
                <a:cs typeface="+mn-cs"/>
              </a:rPr>
              <a:t>Simple Storage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Stockage d'obj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N'importe quelle quantité de donné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N'importe o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000" dirty="0">
                <a:latin typeface="+mn-lt"/>
                <a:cs typeface="+mn-cs"/>
              </a:rPr>
              <a:t>Performances, scalabilité, disponibilité et durabilité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C4DFD30A-181B-4CC7-B548-F971C857A023}"/>
              </a:ext>
            </a:extLst>
          </p:cNvPr>
          <p:cNvSpPr txBox="1"/>
          <p:nvPr/>
        </p:nvSpPr>
        <p:spPr>
          <a:xfrm>
            <a:off x="5527493" y="3207886"/>
            <a:ext cx="3073581" cy="814046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1000" b="1" dirty="0" err="1">
                <a:latin typeface="+mn-lt"/>
                <a:cs typeface="+mn-cs"/>
              </a:rPr>
              <a:t>Elastic</a:t>
            </a:r>
            <a:r>
              <a:rPr lang="fr-FR" sz="1000" b="1" dirty="0">
                <a:latin typeface="+mn-lt"/>
                <a:cs typeface="+mn-cs"/>
              </a:rPr>
              <a:t> </a:t>
            </a:r>
            <a:r>
              <a:rPr lang="fr-FR" sz="1000" b="1" dirty="0" err="1">
                <a:latin typeface="+mn-lt"/>
                <a:cs typeface="+mn-cs"/>
              </a:rPr>
              <a:t>Compute</a:t>
            </a:r>
            <a:r>
              <a:rPr lang="fr-FR" sz="1000" b="1" dirty="0">
                <a:latin typeface="+mn-lt"/>
                <a:cs typeface="+mn-cs"/>
              </a:rPr>
              <a:t> Clo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Serveurs virtu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Capacité de calcul sécurisée et redimensionn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Tout type de charge de travail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000" dirty="0">
                <a:latin typeface="+mn-lt"/>
                <a:cs typeface="+mn-cs"/>
              </a:rPr>
              <a:t>Une infrastructure à la demande fiable et évolutive</a:t>
            </a:r>
          </a:p>
        </p:txBody>
      </p:sp>
      <p:pic>
        <p:nvPicPr>
          <p:cNvPr id="52" name="Image 51">
            <a:extLst>
              <a:ext uri="{FF2B5EF4-FFF2-40B4-BE49-F238E27FC236}">
                <a16:creationId xmlns:a16="http://schemas.microsoft.com/office/drawing/2014/main" id="{96374806-B912-4192-8038-C58F9DF72D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3417" y="3207885"/>
            <a:ext cx="492153" cy="666207"/>
          </a:xfrm>
          <a:prstGeom prst="rect">
            <a:avLst/>
          </a:prstGeom>
        </p:spPr>
      </p:pic>
      <p:sp>
        <p:nvSpPr>
          <p:cNvPr id="55" name="ZoneTexte 54">
            <a:extLst>
              <a:ext uri="{FF2B5EF4-FFF2-40B4-BE49-F238E27FC236}">
                <a16:creationId xmlns:a16="http://schemas.microsoft.com/office/drawing/2014/main" id="{F645C3CF-1F63-4354-8AB8-D8578F83AE55}"/>
              </a:ext>
            </a:extLst>
          </p:cNvPr>
          <p:cNvSpPr txBox="1"/>
          <p:nvPr/>
        </p:nvSpPr>
        <p:spPr>
          <a:xfrm>
            <a:off x="710369" y="2106558"/>
            <a:ext cx="3073581" cy="435841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1000" b="1" dirty="0">
                <a:latin typeface="+mn-lt"/>
                <a:cs typeface="+mn-cs"/>
              </a:rPr>
              <a:t>Identity and Access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latin typeface="+mn-lt"/>
                <a:cs typeface="+mn-cs"/>
              </a:rPr>
              <a:t>Contrôle sécurisé de l'accès à nos ressources</a:t>
            </a:r>
          </a:p>
        </p:txBody>
      </p:sp>
      <p:pic>
        <p:nvPicPr>
          <p:cNvPr id="56" name="Image 55">
            <a:extLst>
              <a:ext uri="{FF2B5EF4-FFF2-40B4-BE49-F238E27FC236}">
                <a16:creationId xmlns:a16="http://schemas.microsoft.com/office/drawing/2014/main" id="{858ACD72-721B-43A8-96EA-E2F9F5CF12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8135" y="2106558"/>
            <a:ext cx="382829" cy="555248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9E8C1792-8317-4E67-9077-1A9494D938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106" y="3117228"/>
            <a:ext cx="505222" cy="497681"/>
          </a:xfrm>
          <a:prstGeom prst="rect">
            <a:avLst/>
          </a:prstGeom>
        </p:spPr>
      </p:pic>
      <p:sp>
        <p:nvSpPr>
          <p:cNvPr id="58" name="ZoneTexte 57">
            <a:extLst>
              <a:ext uri="{FF2B5EF4-FFF2-40B4-BE49-F238E27FC236}">
                <a16:creationId xmlns:a16="http://schemas.microsoft.com/office/drawing/2014/main" id="{F8A4B082-53C3-4482-9667-27B520E0095C}"/>
              </a:ext>
            </a:extLst>
          </p:cNvPr>
          <p:cNvSpPr txBox="1"/>
          <p:nvPr/>
        </p:nvSpPr>
        <p:spPr>
          <a:xfrm>
            <a:off x="847328" y="3117228"/>
            <a:ext cx="3073581" cy="435841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1000" b="1" dirty="0" err="1">
                <a:latin typeface="+mn-lt"/>
                <a:cs typeface="+mn-cs"/>
              </a:rPr>
              <a:t>CloudWatch</a:t>
            </a:r>
            <a:endParaRPr lang="fr-FR" sz="10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Contrôle sécurisé de l'accès à nos ressources</a:t>
            </a:r>
          </a:p>
        </p:txBody>
      </p:sp>
    </p:spTree>
    <p:extLst>
      <p:ext uri="{BB962C8B-B14F-4D97-AF65-F5344CB8AC3E}">
        <p14:creationId xmlns:p14="http://schemas.microsoft.com/office/powerpoint/2010/main" val="89157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architecture Cloud</a:t>
            </a:r>
            <a:endParaRPr lang="en-GB" altLang="fr-FR" sz="20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6" y="1423639"/>
            <a:ext cx="3612220" cy="2039229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STOCKAGE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6" y="3868028"/>
            <a:ext cx="3612220" cy="216743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CALCUL EC2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instance de type t2.micro (1 </a:t>
            </a:r>
            <a:r>
              <a:rPr lang="fr-FR" sz="800" dirty="0" err="1"/>
              <a:t>vCPU</a:t>
            </a:r>
            <a:r>
              <a:rPr lang="fr-FR" sz="800" dirty="0"/>
              <a:t>, 1 </a:t>
            </a:r>
            <a:r>
              <a:rPr lang="fr-FR" sz="800" dirty="0" err="1"/>
              <a:t>Gio</a:t>
            </a:r>
            <a:r>
              <a:rPr lang="fr-FR" sz="800" dirty="0"/>
              <a:t>) crée à partir de l’AMI </a:t>
            </a:r>
            <a:r>
              <a:rPr lang="en-US" sz="800" dirty="0"/>
              <a:t>"LAMP with PHP 7.1 Certified by </a:t>
            </a:r>
            <a:r>
              <a:rPr lang="en-US" sz="800" dirty="0" err="1"/>
              <a:t>Bitnami</a:t>
            </a:r>
            <a:r>
              <a:rPr lang="en-US" sz="800" dirty="0"/>
              <a:t>" 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Sécurité de l’instance: 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2 groupes de sécurité – par défaut et ajout lors du cours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volume </a:t>
            </a:r>
            <a:r>
              <a:rPr lang="fr-FR" sz="800" dirty="0" err="1"/>
              <a:t>Elastic</a:t>
            </a:r>
            <a:r>
              <a:rPr lang="fr-FR" sz="800" dirty="0"/>
              <a:t> Block Store de 10 </a:t>
            </a:r>
            <a:r>
              <a:rPr lang="fr-FR" sz="800" dirty="0" err="1"/>
              <a:t>Gio</a:t>
            </a:r>
            <a:r>
              <a:rPr lang="fr-FR" sz="800" dirty="0"/>
              <a:t> associé à l’instance &gt; inutilis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ublique de l’instance EC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dresse « IP </a:t>
            </a:r>
            <a:r>
              <a:rPr lang="fr-FR" sz="800" dirty="0" err="1"/>
              <a:t>Elactic</a:t>
            </a:r>
            <a:r>
              <a:rPr lang="fr-FR" sz="800" dirty="0"/>
              <a:t> » allouée à l’instance </a:t>
            </a:r>
          </a:p>
          <a:p>
            <a:r>
              <a:rPr lang="fr-FR" sz="800" dirty="0"/>
              <a:t>pour conserver l’IP statique lors des redémarrages de l’instance EC2 (hébergement du futur site web?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5114371" y="1423639"/>
            <a:ext cx="3678259" cy="1421162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AUTHENTIFICATION IAM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racin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groupe d’utilisateurs avec autorisations « </a:t>
            </a:r>
            <a:r>
              <a:rPr lang="fr-FR" sz="800" dirty="0" err="1"/>
              <a:t>AdministratorAccess</a:t>
            </a:r>
            <a:r>
              <a:rPr lang="fr-FR" sz="800" dirty="0"/>
              <a:t> 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IAM dans ce grou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nfigurer AWS pour générer des fichiers de crédits qui, stockés en local, </a:t>
            </a:r>
          </a:p>
          <a:p>
            <a:r>
              <a:rPr lang="fr-FR" sz="800" dirty="0"/>
              <a:t>permettent de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EA1EB90-E832-4797-A5E9-C96AA1F441E8}"/>
              </a:ext>
            </a:extLst>
          </p:cNvPr>
          <p:cNvSpPr txBox="1"/>
          <p:nvPr/>
        </p:nvSpPr>
        <p:spPr>
          <a:xfrm>
            <a:off x="482394" y="1760091"/>
            <a:ext cx="3298297" cy="1529210"/>
          </a:xfrm>
          <a:prstGeom prst="rect">
            <a:avLst/>
          </a:prstGeom>
          <a:solidFill>
            <a:schemeClr val="bg1">
              <a:lumMod val="25000"/>
              <a:lumOff val="75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mpartiment privé</a:t>
            </a:r>
          </a:p>
          <a:p>
            <a:pPr algn="ctr"/>
            <a:r>
              <a:rPr lang="pt-BR" sz="800" b="1" dirty="0">
                <a:latin typeface="+mn-lt"/>
                <a:cs typeface="+mn-cs"/>
                <a:hlinkClick r:id="rId7"/>
              </a:rPr>
              <a:t>https://moncompartimentamoi.s3.eu-west-3.amazonaws.com</a:t>
            </a:r>
            <a:endParaRPr lang="pt-BR" sz="800" b="1" dirty="0">
              <a:latin typeface="+mn-lt"/>
              <a:cs typeface="+mn-cs"/>
            </a:endParaRP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s phot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tre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tre code d’installation des librai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s fichiers de lo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s fichiers résultats</a:t>
            </a:r>
          </a:p>
        </p:txBody>
      </p:sp>
      <p:sp>
        <p:nvSpPr>
          <p:cNvPr id="15" name="Flèche : double flèche verticale 14">
            <a:extLst>
              <a:ext uri="{FF2B5EF4-FFF2-40B4-BE49-F238E27FC236}">
                <a16:creationId xmlns:a16="http://schemas.microsoft.com/office/drawing/2014/main" id="{A5864472-52E0-4285-BAE9-AA29D126C688}"/>
              </a:ext>
            </a:extLst>
          </p:cNvPr>
          <p:cNvSpPr/>
          <p:nvPr/>
        </p:nvSpPr>
        <p:spPr>
          <a:xfrm>
            <a:off x="2066637" y="3462868"/>
            <a:ext cx="129809" cy="395905"/>
          </a:xfrm>
          <a:prstGeom prst="upDown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7D14B5D-4B72-4E0C-BB3F-6349A82C1D2A}"/>
              </a:ext>
            </a:extLst>
          </p:cNvPr>
          <p:cNvSpPr txBox="1"/>
          <p:nvPr/>
        </p:nvSpPr>
        <p:spPr>
          <a:xfrm>
            <a:off x="5114371" y="3868028"/>
            <a:ext cx="3678259" cy="1008771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LOCAL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rivée de l’instance EC2 (paire de clé fichier .</a:t>
            </a:r>
            <a:r>
              <a:rPr lang="fr-FR" sz="800" dirty="0" err="1"/>
              <a:t>pem</a:t>
            </a:r>
            <a:r>
              <a:rPr lang="fr-FR" sz="8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Fichiers de crédits pour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7B13D42-A25F-4560-B4D4-B5D83494D9BA}"/>
              </a:ext>
            </a:extLst>
          </p:cNvPr>
          <p:cNvSpPr txBox="1"/>
          <p:nvPr/>
        </p:nvSpPr>
        <p:spPr>
          <a:xfrm>
            <a:off x="343846" y="727775"/>
            <a:ext cx="8458048" cy="55840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CLOUD WATCH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alarme: &gt; 1$ lancée toutes les 6 heur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960AC1C-4B0E-40B9-889D-ADA5FD0E89E1}"/>
              </a:ext>
            </a:extLst>
          </p:cNvPr>
          <p:cNvSpPr txBox="1"/>
          <p:nvPr/>
        </p:nvSpPr>
        <p:spPr>
          <a:xfrm>
            <a:off x="2307165" y="3589960"/>
            <a:ext cx="2103967" cy="141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00" dirty="0">
                <a:solidFill>
                  <a:schemeClr val="bg1"/>
                </a:solidFill>
              </a:rPr>
              <a:t>Lecture et écriture au format parquet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63B1D56-B06E-4C76-AE98-647AC7EAB360}"/>
              </a:ext>
            </a:extLst>
          </p:cNvPr>
          <p:cNvSpPr txBox="1"/>
          <p:nvPr/>
        </p:nvSpPr>
        <p:spPr>
          <a:xfrm>
            <a:off x="5114371" y="3111501"/>
            <a:ext cx="3678259" cy="702734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GITHUB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BECB3D3-0F83-4F48-A2FB-09C51C6215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4470" y="1830569"/>
            <a:ext cx="1008727" cy="21135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DBEB7CB5-1407-4B49-8E93-8CF780B3E6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0044" y="5589074"/>
            <a:ext cx="1674282" cy="35515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933E09B-5D93-4C51-9BEA-BEE538F8B3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7525" y="1486673"/>
            <a:ext cx="545717" cy="435841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B6F6D4A-AFDB-477A-A0BE-517E9097BD7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3892" y="3948382"/>
            <a:ext cx="492153" cy="66620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C89C724-1E11-4473-9DF4-51F7357AA13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6119" y="1486673"/>
            <a:ext cx="382829" cy="55524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6C2C23D-3D2D-4320-9F1D-5CC3F7142B5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13726" y="758135"/>
            <a:ext cx="505222" cy="497681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697CB00-BAB6-4985-86DA-EA7FDC95002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46618" y="86917"/>
            <a:ext cx="855276" cy="5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9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Quelle utilisation de l’architecture ?</a:t>
            </a:r>
            <a:br>
              <a:rPr lang="fr-FR" dirty="0"/>
            </a:br>
            <a:r>
              <a:rPr lang="fr-FR" sz="1100" dirty="0">
                <a:solidFill>
                  <a:srgbClr val="FF0000"/>
                </a:solidFill>
              </a:rPr>
              <a:t>identifier les traitements critiques lors du passage à l'échelle</a:t>
            </a:r>
            <a:br>
              <a:rPr lang="fr-FR" sz="1100" dirty="0">
                <a:solidFill>
                  <a:srgbClr val="FF0000"/>
                </a:solidFill>
              </a:rPr>
            </a:br>
            <a:r>
              <a:rPr lang="fr-FR" sz="1100" dirty="0">
                <a:solidFill>
                  <a:srgbClr val="FF0000"/>
                </a:solidFill>
              </a:rPr>
              <a:t>illustrer algo MapReduce avec des exemple (traiter des groupes d'images </a:t>
            </a:r>
            <a:r>
              <a:rPr lang="fr-FR" sz="1100" dirty="0" err="1">
                <a:solidFill>
                  <a:srgbClr val="FF0000"/>
                </a:solidFill>
              </a:rPr>
              <a:t>pyspark</a:t>
            </a:r>
            <a:r>
              <a:rPr lang="fr-FR" sz="11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9336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3049</TotalTime>
  <Words>913</Words>
  <Application>Microsoft Office PowerPoint</Application>
  <PresentationFormat>Affichage à l'écran (16:9)</PresentationFormat>
  <Paragraphs>228</Paragraphs>
  <Slides>14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0" baseType="lpstr">
      <vt:lpstr>Arial</vt:lpstr>
      <vt:lpstr>Arial Narrow</vt:lpstr>
      <vt:lpstr>Calibri</vt:lpstr>
      <vt:lpstr>Wingdings</vt:lpstr>
      <vt:lpstr>BNPP_LS_FR</vt:lpstr>
      <vt:lpstr>think-cell Slide</vt:lpstr>
      <vt:lpstr>Projet n°8</vt:lpstr>
      <vt:lpstr>Agenda</vt:lpstr>
      <vt:lpstr>Problématique, PISTES et jeu de données</vt:lpstr>
      <vt:lpstr>Problématique</vt:lpstr>
      <vt:lpstr>Présentation du jeu de données</vt:lpstr>
      <vt:lpstr>Pourquoi une architecture Big Data ? C’est quoi Spark, Hadoop?  </vt:lpstr>
      <vt:lpstr>Nos enjeux</vt:lpstr>
      <vt:lpstr>Notre architecture Cloud</vt:lpstr>
      <vt:lpstr>Quelle utilisation de l’architecture ? identifier les traitements critiques lors du passage à l'échelle illustrer algo MapReduce avec des exemple (traiter des groupes d'images pyspark)</vt:lpstr>
      <vt:lpstr>Notre pipeline</vt:lpstr>
      <vt:lpstr>CONCLUSION et  pistes d’ améliorations</vt:lpstr>
      <vt:lpstr>Conclusion</vt:lpstr>
      <vt:lpstr>Annexes  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1958</cp:revision>
  <cp:lastPrinted>2015-02-25T12:09:14Z</cp:lastPrinted>
  <dcterms:created xsi:type="dcterms:W3CDTF">2015-05-21T13:39:27Z</dcterms:created>
  <dcterms:modified xsi:type="dcterms:W3CDTF">2022-03-19T12:0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